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03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93815734118637E-2"/>
          <c:y val="2.5304136253041364E-2"/>
          <c:w val="0.97812368531762728"/>
          <c:h val="0.9493917274939173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FCD-4341-8009-2A1EADAD8481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15600</c:v>
                </c:pt>
                <c:pt idx="1">
                  <c:v>13630</c:v>
                </c:pt>
                <c:pt idx="2">
                  <c:v>12202</c:v>
                </c:pt>
                <c:pt idx="3">
                  <c:v>15200</c:v>
                </c:pt>
                <c:pt idx="5">
                  <c:v>86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CD-4341-8009-2A1EADAD8481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DFCD-4341-8009-2A1EADAD8481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0">
                  <c:v>23450</c:v>
                </c:pt>
                <c:pt idx="1">
                  <c:v>14450</c:v>
                </c:pt>
                <c:pt idx="2">
                  <c:v>17300</c:v>
                </c:pt>
                <c:pt idx="3">
                  <c:v>26450</c:v>
                </c:pt>
                <c:pt idx="5">
                  <c:v>136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FCD-4341-8009-2A1EADAD84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329764640"/>
        <c:axId val="1"/>
      </c:barChart>
      <c:catAx>
        <c:axId val="3297646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zh-CN"/>
          </a:p>
        </c:txPr>
        <c:crossAx val="329764640"/>
        <c:crosses val="min"/>
        <c:crossBetween val="between"/>
        <c:majorUnit val="500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80C47D-8ADB-4F39-8D2E-D58DC34D16F9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441CC4-D15F-4604-BEF6-6F3A05CCF5A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26718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73312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706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037907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4831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300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56642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4507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724267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21" Type="http://schemas.openxmlformats.org/officeDocument/2006/relationships/tags" Target="../tags/tag24.xml"/><Relationship Id="rId34" Type="http://schemas.openxmlformats.org/officeDocument/2006/relationships/slideLayout" Target="../slideLayouts/slideLayout5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chart" Target="../charts/chart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image" Target="../media/image4.emf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oleObject" Target="../embeddings/oleObject5.bin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notesSlide" Target="../notesSlides/notesSlide1.xml"/><Relationship Id="rId8" Type="http://schemas.openxmlformats.org/officeDocument/2006/relationships/tags" Target="../tags/tag11.xml"/><Relationship Id="rId3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36" imgW="349" imgH="350" progId="TCLayout.ActiveDocument.1">
                  <p:embed/>
                </p:oleObj>
              </mc:Choice>
              <mc:Fallback>
                <p:oleObj name="think-cell 幻灯片" r:id="rId3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aphicFrame>
        <p:nvGraphicFramePr>
          <p:cNvPr id="46" name="Chart 3">
            <a:extLst>
              <a:ext uri="{FF2B5EF4-FFF2-40B4-BE49-F238E27FC236}">
                <a16:creationId xmlns:a16="http://schemas.microsoft.com/office/drawing/2014/main" id="{16909FC6-BD73-4A68-9AB0-48C2ADDE4580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688975" y="2239963"/>
          <a:ext cx="7546975" cy="3262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6" name="Rectangle 167">
            <a:extLst>
              <a:ext uri="{FF2B5EF4-FFF2-40B4-BE49-F238E27FC236}">
                <a16:creationId xmlns:a16="http://schemas.microsoft.com/office/drawing/2014/main" id="{3E20C19A-E70C-493C-9258-C2B48C96C2C0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479424" y="5329238"/>
            <a:ext cx="1158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C9594A-2098-41E8-A382-6AA7F35981C2}" type="datetime'''''''0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82600" y="4797425"/>
            <a:ext cx="112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C3CFECC-A84D-4857-A2EA-AA69DC58F029}" type="datetime'''''''''''''''''''''''''''5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" name="Rectangle 172">
            <a:extLst>
              <a:ext uri="{FF2B5EF4-FFF2-40B4-BE49-F238E27FC236}">
                <a16:creationId xmlns:a16="http://schemas.microsoft.com/office/drawing/2014/main" id="{1336B2C2-E797-12C2-8DED-179B1D6C9B6A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404813" y="4297363"/>
            <a:ext cx="19050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9AED3C5-D392-43FE-8527-4FA183F962B7}" type="datetime'''''1''0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07989" y="3765550"/>
            <a:ext cx="187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A962EE7-4FAB-4C3B-A887-81AEEED2A771}" type="datetime'1''''''''5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Rectangle 177">
            <a:extLst>
              <a:ext uri="{FF2B5EF4-FFF2-40B4-BE49-F238E27FC236}">
                <a16:creationId xmlns:a16="http://schemas.microsoft.com/office/drawing/2014/main" id="{EC381340-2B3E-E99F-F995-293851645FDF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368300" y="3263900"/>
            <a:ext cx="2270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A31AB80-69DB-485B-873C-E3046BB2AF4E}" type="datetime'20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71475" y="2732088"/>
            <a:ext cx="223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8DE26AE-B5B7-495E-BF8B-9456DBAB3530}" type="datetime'''''''''''''''''''''''''''''2''''''''''''''''''5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69888" y="2216150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8ABFA58-C35E-4878-8D73-7AF0B0EAAE65}" type="datetime'''''''''''''''''''''''3''0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15" name="Straight Connector 113">
            <a:extLst>
              <a:ext uri="{FF2B5EF4-FFF2-40B4-BE49-F238E27FC236}">
                <a16:creationId xmlns:a16="http://schemas.microsoft.com/office/drawing/2014/main" id="{490DA7FE-DF02-1A55-B003-A38E635FD60F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 flipV="1">
            <a:off x="5295900" y="23574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14">
            <a:extLst>
              <a:ext uri="{FF2B5EF4-FFF2-40B4-BE49-F238E27FC236}">
                <a16:creationId xmlns:a16="http://schemas.microsoft.com/office/drawing/2014/main" id="{5ED79ED3-6039-D248-270A-9A4BE6808BE9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5295900" y="2357438"/>
            <a:ext cx="24606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15">
            <a:extLst>
              <a:ext uri="{FF2B5EF4-FFF2-40B4-BE49-F238E27FC236}">
                <a16:creationId xmlns:a16="http://schemas.microsoft.com/office/drawing/2014/main" id="{0FA57901-6219-12FE-517B-352CA8537C06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7756525" y="2357438"/>
            <a:ext cx="0" cy="13970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Rectangle 11">
            <a:extLst>
              <a:ext uri="{FF2B5EF4-FFF2-40B4-BE49-F238E27FC236}">
                <a16:creationId xmlns:a16="http://schemas.microsoft.com/office/drawing/2014/main" id="{4970B787-9B59-707F-9211-2F3FE9300364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1060450" y="5478463"/>
            <a:ext cx="6524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t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1" name="Rectangle 31">
            <a:extLst>
              <a:ext uri="{FF2B5EF4-FFF2-40B4-BE49-F238E27FC236}">
                <a16:creationId xmlns:a16="http://schemas.microsoft.com/office/drawing/2014/main" id="{00BB3EED-75DA-70B9-0F62-F76D70319947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2271713" y="5478463"/>
            <a:ext cx="6889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</a:t>
            </a:r>
            <a:r>
              <a:rPr lang="en-US" sz="1400" dirty="0">
                <a:solidFill>
                  <a:srgbClr val="F2F2F2">
                    <a:lumMod val="10000"/>
                  </a:srgbClr>
                </a:solidFill>
                <a:latin typeface="理想品牌字体 2022"/>
                <a:ea typeface="理想品牌字体 2022"/>
              </a:rPr>
              <a:t>_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</a:p>
        </p:txBody>
      </p:sp>
      <p:sp>
        <p:nvSpPr>
          <p:cNvPr id="22" name="Rectangle 32">
            <a:extLst>
              <a:ext uri="{FF2B5EF4-FFF2-40B4-BE49-F238E27FC236}">
                <a16:creationId xmlns:a16="http://schemas.microsoft.com/office/drawing/2014/main" id="{B8EC06C6-EEC6-3485-8C17-9858FADFC9EA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3503612" y="5478463"/>
            <a:ext cx="6873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bullet_3}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3" name="Rectangle 341">
            <a:extLst>
              <a:ext uri="{FF2B5EF4-FFF2-40B4-BE49-F238E27FC236}">
                <a16:creationId xmlns:a16="http://schemas.microsoft.com/office/drawing/2014/main" id="{ABF44360-8224-36FA-098F-A6B38D486DBA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730749" y="5478463"/>
            <a:ext cx="6921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bullet_4}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Rectangle 35">
            <a:extLst>
              <a:ext uri="{FF2B5EF4-FFF2-40B4-BE49-F238E27FC236}">
                <a16:creationId xmlns:a16="http://schemas.microsoft.com/office/drawing/2014/main" id="{1B688C84-1B4C-5EEE-8471-666CB833DB88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7088188" y="5478463"/>
            <a:ext cx="9001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bullet_5}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4" name="Rectangle 357">
            <a:extLst>
              <a:ext uri="{FF2B5EF4-FFF2-40B4-BE49-F238E27FC236}">
                <a16:creationId xmlns:a16="http://schemas.microsoft.com/office/drawing/2014/main" id="{57FD7012-D997-A805-6E02-ABE8F803DD60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1047750" y="3590925"/>
            <a:ext cx="2365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2B032B-7ACF-4A45-B498-DAF073F4862D}" type="datetime'''''''''''''1''''''''''''''''''''''''''''''6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5" name="Rectangle 358">
            <a:extLst>
              <a:ext uri="{FF2B5EF4-FFF2-40B4-BE49-F238E27FC236}">
                <a16:creationId xmlns:a16="http://schemas.microsoft.com/office/drawing/2014/main" id="{421437B7-BA42-9BD8-6BDF-4C7D403B3A58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1470025" y="2781300"/>
            <a:ext cx="2714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03C2CB7-2660-4465-818D-CF7A66CEC485}" type="datetime'2''''''''''''''''''''''3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6" name="Rectangle 359">
            <a:extLst>
              <a:ext uri="{FF2B5EF4-FFF2-40B4-BE49-F238E27FC236}">
                <a16:creationId xmlns:a16="http://schemas.microsoft.com/office/drawing/2014/main" id="{949204FD-B15F-E846-2BE0-FAB1AB533D97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2276476" y="3795713"/>
            <a:ext cx="239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42BC38F-8E18-4B12-9AC6-DC216F8CEAEB}" type="datetime'''1''''''''''4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7" name="Rectangle 360">
            <a:extLst>
              <a:ext uri="{FF2B5EF4-FFF2-40B4-BE49-F238E27FC236}">
                <a16:creationId xmlns:a16="http://schemas.microsoft.com/office/drawing/2014/main" id="{CCDB6DB7-31FF-1441-CED5-991119859317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2716214" y="3709988"/>
            <a:ext cx="239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B72C4BD-7C37-4DD9-AD78-FF2A7D92124A}" type="datetime'1''''''4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8" name="Rectangle 361">
            <a:extLst>
              <a:ext uri="{FF2B5EF4-FFF2-40B4-BE49-F238E27FC236}">
                <a16:creationId xmlns:a16="http://schemas.microsoft.com/office/drawing/2014/main" id="{4152C6D1-7EAF-600D-FB89-8920CF3A0710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3508375" y="3941763"/>
            <a:ext cx="2365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6B52D05-29A0-459C-9768-15DFF3026304}" type="datetime'''''''''''''''''''''''''''''''''''''''''12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Rectangle 363">
            <a:extLst>
              <a:ext uri="{FF2B5EF4-FFF2-40B4-BE49-F238E27FC236}">
                <a16:creationId xmlns:a16="http://schemas.microsoft.com/office/drawing/2014/main" id="{8458D2D6-8DA6-14DE-1647-68AA16555042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3954463" y="3416300"/>
            <a:ext cx="2222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435C0F1-7428-480C-94E3-F8FC35BB1C51}" type="datetime'1''''''''7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0" name="Rectangle 364">
            <a:extLst>
              <a:ext uri="{FF2B5EF4-FFF2-40B4-BE49-F238E27FC236}">
                <a16:creationId xmlns:a16="http://schemas.microsoft.com/office/drawing/2014/main" id="{0C871ECD-73A4-43E9-1370-1EF64D458675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4737101" y="3632200"/>
            <a:ext cx="2381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3F950F-B335-465C-8F43-AB51268FBEBD}" type="datetime'''''''''''''''''''''''1''''''''''''''5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1" name="Rectangle 365">
            <a:extLst>
              <a:ext uri="{FF2B5EF4-FFF2-40B4-BE49-F238E27FC236}">
                <a16:creationId xmlns:a16="http://schemas.microsoft.com/office/drawing/2014/main" id="{BCB19E19-E245-D3CA-5DF8-6850E8527422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5159375" y="2471738"/>
            <a:ext cx="2730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845C499-2735-4D8D-BA2B-A82C79855911}" type="datetime'''''''''''''''''''''''2''''''''''''''''''''''''''6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2" name="Rectangle 366">
            <a:extLst>
              <a:ext uri="{FF2B5EF4-FFF2-40B4-BE49-F238E27FC236}">
                <a16:creationId xmlns:a16="http://schemas.microsoft.com/office/drawing/2014/main" id="{6C1533B2-D98B-9EFB-BEBA-4CB182D202BF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7235825" y="4308475"/>
            <a:ext cx="1619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FC87031-C97B-4C10-929D-1BB1B82F245A}" type="datetime'''''''''''''''''''''''''''9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3" name="Rectangle 367">
            <a:extLst>
              <a:ext uri="{FF2B5EF4-FFF2-40B4-BE49-F238E27FC236}">
                <a16:creationId xmlns:a16="http://schemas.microsoft.com/office/drawing/2014/main" id="{0C57E5E1-CF26-54A4-E940-B75D1D5AEAD6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7637464" y="3792538"/>
            <a:ext cx="239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C28B0E1-FF4C-4010-9F17-3CD820190A50}" type="datetime'''''''''''1''''4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D336833-95B4-5DF1-0993-5DA9F80B2A03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6194425" y="2206625"/>
            <a:ext cx="663575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growth_rate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5" name="Rectangle 19">
            <a:extLst>
              <a:ext uri="{FF2B5EF4-FFF2-40B4-BE49-F238E27FC236}">
                <a16:creationId xmlns:a16="http://schemas.microsoft.com/office/drawing/2014/main" id="{D43F45FF-6670-40D4-2888-6B621F6FB837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3600450" y="5778500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6" name="Rectangle 22">
            <a:extLst>
              <a:ext uri="{FF2B5EF4-FFF2-40B4-BE49-F238E27FC236}">
                <a16:creationId xmlns:a16="http://schemas.microsoft.com/office/drawing/2014/main" id="{D844FCD2-EE66-A7FA-BE17-336D2247FC77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4564063" y="5778500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7" name="Rectangle 2">
            <a:extLst>
              <a:ext uri="{FF2B5EF4-FFF2-40B4-BE49-F238E27FC236}">
                <a16:creationId xmlns:a16="http://schemas.microsoft.com/office/drawing/2014/main" id="{B4CB4B08-9589-F42E-BFF9-F2A095D2780D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3902074" y="5773738"/>
            <a:ext cx="5603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8" name="Rectangle 10">
            <a:extLst>
              <a:ext uri="{FF2B5EF4-FFF2-40B4-BE49-F238E27FC236}">
                <a16:creationId xmlns:a16="http://schemas.microsoft.com/office/drawing/2014/main" id="{14B863F4-D62A-257B-CF15-2AF266511B43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4865688" y="5773738"/>
            <a:ext cx="5810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s_2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5273AAF4-3F8E-DB8D-386F-751981BC0E5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44673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columns, bar, bars, think-cell, chart, charts, graph, graphs, comment</a:t>
            </a:r>
          </a:p>
        </p:txBody>
      </p:sp>
      <p:sp>
        <p:nvSpPr>
          <p:cNvPr id="2" name="Rechteck 137">
            <a:extLst>
              <a:ext uri="{FF2B5EF4-FFF2-40B4-BE49-F238E27FC236}">
                <a16:creationId xmlns:a16="http://schemas.microsoft.com/office/drawing/2014/main" id="{BD7E471A-E0AA-D4A6-3242-C31C685E94EE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3" name="tc_columnheader">
            <a:extLst>
              <a:ext uri="{FF2B5EF4-FFF2-40B4-BE49-F238E27FC236}">
                <a16:creationId xmlns:a16="http://schemas.microsoft.com/office/drawing/2014/main" id="{606AF2AD-2F2B-9B5D-C3ED-D99EB3D8BC2C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4" name="tc_columnhead">
              <a:extLst>
                <a:ext uri="{FF2B5EF4-FFF2-40B4-BE49-F238E27FC236}">
                  <a16:creationId xmlns:a16="http://schemas.microsoft.com/office/drawing/2014/main" id="{4B90E802-69A4-331C-C759-271EC706C2D3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_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7" name="tc_columnheadline">
              <a:extLst>
                <a:ext uri="{FF2B5EF4-FFF2-40B4-BE49-F238E27FC236}">
                  <a16:creationId xmlns:a16="http://schemas.microsoft.com/office/drawing/2014/main" id="{D358AB83-1646-AE6E-E7AD-28534C665A9D}"/>
                </a:ext>
              </a:extLst>
            </p:cNvPr>
            <p:cNvCxnSpPr>
              <a:cxnSpLocks/>
              <a:stCxn id="4" idx="4"/>
              <a:endCxn id="4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tc_columnheader">
            <a:extLst>
              <a:ext uri="{FF2B5EF4-FFF2-40B4-BE49-F238E27FC236}">
                <a16:creationId xmlns:a16="http://schemas.microsoft.com/office/drawing/2014/main" id="{234A5D9F-1875-37E6-BFAB-3C2427A5BA90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9" name="tc_columnhead">
              <a:extLst>
                <a:ext uri="{FF2B5EF4-FFF2-40B4-BE49-F238E27FC236}">
                  <a16:creationId xmlns:a16="http://schemas.microsoft.com/office/drawing/2014/main" id="{83F6D984-0316-1640-CEF9-C657553E7203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13" name="tc_columnheadline">
              <a:extLst>
                <a:ext uri="{FF2B5EF4-FFF2-40B4-BE49-F238E27FC236}">
                  <a16:creationId xmlns:a16="http://schemas.microsoft.com/office/drawing/2014/main" id="{F2BD283A-61CA-4230-7938-34A67A5D5136}"/>
                </a:ext>
              </a:extLst>
            </p:cNvPr>
            <p:cNvCxnSpPr>
              <a:cxnSpLocks/>
              <a:stCxn id="9" idx="4"/>
              <a:endCxn id="9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Rectangle 18">
            <a:extLst>
              <a:ext uri="{FF2B5EF4-FFF2-40B4-BE49-F238E27FC236}">
                <a16:creationId xmlns:a16="http://schemas.microsoft.com/office/drawing/2014/main" id="{CEF2F503-2F24-2DC9-6684-86C2AC5FD7F4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CAGR arrows, difference arrows)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44534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yiF7JWZh.3PG9ZrPb9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7TFHcdt4ueV7gzHgn90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vvTffAfXiQ3WveWtfz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DXufK8GzyWYsh8HdIs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p4te1bWC6Mk1GZeU6N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U1azION26c1P8ypcWTQ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gz6OuPfkEAEEL8IA8g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aWRbXXYFDn45SJx1LS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lgrfcIXWAnDrH7o.58m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xIS2x0V8hsnAaeoZmg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YsgaJ.RfgMX3bL0ZPD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scVYGsZ9zf5ddGY_NK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RDEeLOdz9avLWSJxQf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UMapyFzc_N8qLDTGx0l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th4ssmW.SAnq5jbfOcn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2tBYDf_CRjfscEZpkgNG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UDecgigARlyAYHgMfbU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GOhx44gIluExG4nAmGJ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d53zXiIPKGQRUR5N59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bFBvkW0wpzJ68gcMzE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4MGssCXLFXMR6Y1ITwj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0UwVFNi8pEfhUnFKHEv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ZgUdgRDEpoeF0pquxJT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NEnKpZUzAi3PiFWKGE2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g9mzjcGTHl0XUOpSKJ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V8t74f5QDCNFCGsU6qH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vmkIsjyzfhwbnfDIRZ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pNIWILFIbG0gK3k7781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mXlR0qZYlMNZfUjl2V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9d0mPacz1ZjbPDI00f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HQ3yA.EyxeaxVrgW87.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68</Words>
  <Application>Microsoft Office PowerPoint</Application>
  <PresentationFormat>宽屏</PresentationFormat>
  <Paragraphs>3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7:42:19Z</dcterms:created>
  <dcterms:modified xsi:type="dcterms:W3CDTF">2025-09-09T07:46:08Z</dcterms:modified>
</cp:coreProperties>
</file>